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34"/>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A26773D6-C9DE-48B8-9803-2A6F576A975A}">
          <p14:sldIdLst>
            <p14:sldId id="2147476952"/>
            <p14:sldId id="2147476953"/>
            <p14:sldId id="2147476954"/>
            <p14:sldId id="2147476955"/>
            <p14:sldId id="2147476956"/>
          </p14:sldIdLst>
        </p14:section>
        <p14:section name="Brand Sourcing Analysis" id="{F13DE261-F95F-48CA-AFC2-D7047FB0A02A}">
          <p14:sldIdLst>
            <p14:sldId id="2147476957"/>
            <p14:sldId id="2147476958"/>
            <p14:sldId id="2147476959"/>
            <p14:sldId id="2147476960"/>
            <p14:sldId id="2147476961"/>
            <p14:sldId id="2147476962"/>
            <p14:sldId id="2147476963"/>
            <p14:sldId id="2147476964"/>
            <p14:sldId id="2147476965"/>
          </p14:sldIdLst>
        </p14:section>
        <p14:section name="Product Sourcing Analysis" id="{76B63F83-F359-494C-A864-1C394A6CD830}">
          <p14:sldIdLst>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Lst>
        </p14:section>
        <p14:section name="Price Elasticity Curve" id="{160FD796-FEF3-4484-9925-A2E27F4F9FB9}">
          <p14:sldIdLst>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Lst>
        </p14:section>
        <p14:section name="Revenue Response Analysis" id="{1BCD071D-F155-4083-8C7E-5E80CB923327}">
          <p14:sldIdLst>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Lst>
        </p14:section>
        <p14:section name="Size Elasticity" id="{2C7835BB-6D69-43AB-B5A1-0AA3324700A0}">
          <p14:sldIdLst>
            <p14:sldId id="2147477075"/>
            <p14:sldId id="2147477076"/>
            <p14:sldId id="2147477077"/>
            <p14:sldId id="2147477078"/>
            <p14:sldId id="214747707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63" d="100"/>
          <a:sy n="63" d="100"/>
        </p:scale>
        <p:origin x="1037" y="4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tableStyles" Target="tableStyle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notesMaster" Target="notesMasters/notesMaster1.xml"/><Relationship Id="rId139" Type="http://schemas.microsoft.com/office/2015/10/relationships/revisionInfo" Target="revisionInfo.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3/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1/2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1/2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1/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1/2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1/2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1/2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1/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1/2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1/23/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1/2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1/23/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chart" Target="../charts/chart68.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chart" Target="../charts/chart7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chart" Target="../charts/chart7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chart" Target="../charts/chart82.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7.xml"/><Relationship Id="rId2" Type="http://schemas.openxmlformats.org/officeDocument/2006/relationships/chart" Target="../charts/chart8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3.xml"/><Relationship Id="rId2" Type="http://schemas.openxmlformats.org/officeDocument/2006/relationships/chart" Target="../charts/chart9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5.xml"/><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7.xml"/><Relationship Id="rId2" Type="http://schemas.openxmlformats.org/officeDocument/2006/relationships/chart" Target="../charts/chart96.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99.xml"/><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1.xml"/><Relationship Id="rId2" Type="http://schemas.openxmlformats.org/officeDocument/2006/relationships/chart" Target="../charts/chart100.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3.xml"/><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5.xml"/><Relationship Id="rId2" Type="http://schemas.openxmlformats.org/officeDocument/2006/relationships/chart" Target="../charts/chart104.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09.xml"/><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1.xml"/><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3.xml"/><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5.xml"/><Relationship Id="rId2" Type="http://schemas.openxmlformats.org/officeDocument/2006/relationships/chart" Target="../charts/chart114.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7.xml"/><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00765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201940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18946682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5312222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4817843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42931485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19335353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187246475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278822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71621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3503446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116813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46660565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50809029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301360807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47284336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2826255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122383399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415267399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4195537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2947889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26476846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388487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43175983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64051392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0409102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8152174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425523517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85639990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7514369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22852434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51155269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2615015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970276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516814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893238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742716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566554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630994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477992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1216737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041727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61882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773469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8612785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4003255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082680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2780173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67215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340433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514522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604267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681952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186154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1439678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6848604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612978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4523340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41275968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096476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3111403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4245152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3773377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605911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8983444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2811712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0524777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6314170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6796376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240350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485656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5392426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02194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4999188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6595411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8129858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9193630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0743966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7224966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98666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0762852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1941028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844034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487881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3543861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8444028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0950162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576342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61290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79032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206146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431320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87965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782284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24336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4298865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359052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916789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720597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91870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729322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90331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96816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572108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12883929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31323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4465281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5150515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0291305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30935818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7856824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793412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18067950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8157801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18671606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6890658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4155466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2827404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3535934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36762911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5904893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3983960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5012591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12018287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66200648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18541015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28926532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10756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8185</Words>
  <Application>Microsoft Office PowerPoint</Application>
  <PresentationFormat>On-screen Show (16:9)</PresentationFormat>
  <Paragraphs>4588</Paragraphs>
  <Slides>128</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8</vt:i4>
      </vt:variant>
    </vt:vector>
  </HeadingPairs>
  <TitlesOfParts>
    <vt:vector size="139"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Raphaella ASHRAF</cp:lastModifiedBy>
  <cp:revision>13</cp:revision>
  <dcterms:created xsi:type="dcterms:W3CDTF">2024-07-08T12:09:12Z</dcterms:created>
  <dcterms:modified xsi:type="dcterms:W3CDTF">2025-01-23T08: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